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36" autoAdjust="0"/>
    <p:restoredTop sz="95770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744" y="108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4/12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4/12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309102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798052"/>
            <a:ext cx="11649947" cy="905314"/>
          </a:xfrm>
        </p:spPr>
        <p:txBody>
          <a:bodyPr/>
          <a:lstStyle/>
          <a:p>
            <a:r>
              <a:rPr lang="fr-FR" b="1" dirty="0"/>
              <a:t>Stratégie :  Produits biosourcés et biotechnologies industrielles - Carburant durables</a:t>
            </a:r>
          </a:p>
          <a:p>
            <a:r>
              <a:rPr lang="fr-FR" b="1" dirty="0"/>
              <a:t>Appel à Projet : Développement d’une filière de production française de carburants aéronautiques durables – Soutien aux études d’ingénierie d’avant-projet (FEED)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770070"/>
              </p:ext>
            </p:extLst>
          </p:nvPr>
        </p:nvGraphicFramePr>
        <p:xfrm>
          <a:off x="1638299" y="2061136"/>
          <a:ext cx="7266573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ûts 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ohérence de son plan d’approvisionnement en intrants vis-à-vis du périmètre de l’AAP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analyse environnementale, analyse économique (cible de coût de production, de prix de vente), emploi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012626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FEED CARB AERO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cess industriel étudié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Type de carburant commercialisé à l’issu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Intrants du procédé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France 2030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7452921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XX/XX/2024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87638" y="117739"/>
            <a:ext cx="44265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67455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-environnementaux, économiques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Intégration du projet au sein du territoire/de la région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Unité industrielle étudiée </a:t>
            </a: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118264" y="1544507"/>
            <a:ext cx="7464136" cy="446576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sz="1400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Organisation (Société de projet créée ?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Localisa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Gisement, fournisseur et contrat d’approvisionnemen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sz="1400" i="1" dirty="0"/>
              <a:t>Plan d’approvisionnement biomasse le cas échéant &amp; Typologie des ressources (bois ou autres </a:t>
            </a:r>
            <a:r>
              <a:rPr lang="fr-FR" sz="1400" i="1" dirty="0" err="1"/>
              <a:t>géosourcés</a:t>
            </a:r>
            <a:r>
              <a:rPr lang="fr-FR" sz="1400" i="1" dirty="0"/>
              <a:t>, bois recyclés, feuillus, résineux…)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sz="1400" i="1" dirty="0"/>
              <a:t>% visé de taux de contractualisation à horizon 2025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sz="1400" i="1" dirty="0"/>
              <a:t>Certification durable envisagée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sz="1400" i="1" dirty="0"/>
              <a:t>Raccordement électrique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sz="1400" i="1" dirty="0"/>
              <a:t>Taux renouvelable électricité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sz="1400" i="1" dirty="0"/>
              <a:t>Plan d’approvisionnement CO</a:t>
            </a:r>
            <a:r>
              <a:rPr lang="fr-FR" sz="1050" i="1" dirty="0"/>
              <a:t>2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Rendement en carburant d’aviation durab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Cible économique : coût de production selon 2 scénarios de prix de l’électricité (70€/MWh et prix cible envisagé par le porteur de projet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sz="1400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9057778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s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45</TotalTime>
  <Words>1701</Words>
  <Application>Microsoft Office PowerPoint</Application>
  <PresentationFormat>Grand écran</PresentationFormat>
  <Paragraphs>214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FEED CARB AERO</vt:lpstr>
      <vt:lpstr>1. Contexte et enjeux du projet (cf. Annexe 3a) </vt:lpstr>
      <vt:lpstr>2. Etat de l’art et verrous à lever  (cf. Annexe 3a) </vt:lpstr>
      <vt:lpstr>3. Unité industrielle étudiée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TANINEC Alexandra</cp:lastModifiedBy>
  <cp:revision>827</cp:revision>
  <cp:lastPrinted>2017-04-19T15:45:38Z</cp:lastPrinted>
  <dcterms:created xsi:type="dcterms:W3CDTF">2015-06-10T16:17:23Z</dcterms:created>
  <dcterms:modified xsi:type="dcterms:W3CDTF">2023-12-14T16:40:00Z</dcterms:modified>
</cp:coreProperties>
</file>